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50"/>
  </p:notesMasterIdLst>
  <p:handoutMasterIdLst>
    <p:handoutMasterId r:id="rId51"/>
  </p:handoutMasterIdLst>
  <p:sldIdLst>
    <p:sldId id="1485" r:id="rId4"/>
    <p:sldId id="1551" r:id="rId5"/>
    <p:sldId id="1552" r:id="rId6"/>
    <p:sldId id="1795" r:id="rId7"/>
    <p:sldId id="1796" r:id="rId8"/>
    <p:sldId id="1797" r:id="rId9"/>
    <p:sldId id="1798" r:id="rId10"/>
    <p:sldId id="1799" r:id="rId11"/>
    <p:sldId id="1800" r:id="rId12"/>
    <p:sldId id="1801" r:id="rId13"/>
    <p:sldId id="1802" r:id="rId14"/>
    <p:sldId id="1803" r:id="rId15"/>
    <p:sldId id="1805" r:id="rId16"/>
    <p:sldId id="1806" r:id="rId17"/>
    <p:sldId id="1807" r:id="rId18"/>
    <p:sldId id="1808" r:id="rId19"/>
    <p:sldId id="1809" r:id="rId20"/>
    <p:sldId id="1810" r:id="rId21"/>
    <p:sldId id="1811" r:id="rId22"/>
    <p:sldId id="1812" r:id="rId23"/>
    <p:sldId id="1813" r:id="rId24"/>
    <p:sldId id="1814" r:id="rId25"/>
    <p:sldId id="1816" r:id="rId26"/>
    <p:sldId id="1817" r:id="rId27"/>
    <p:sldId id="1818" r:id="rId28"/>
    <p:sldId id="1819" r:id="rId29"/>
    <p:sldId id="1820" r:id="rId30"/>
    <p:sldId id="1821" r:id="rId31"/>
    <p:sldId id="1823" r:id="rId32"/>
    <p:sldId id="1841" r:id="rId33"/>
    <p:sldId id="1837" r:id="rId34"/>
    <p:sldId id="1833" r:id="rId35"/>
    <p:sldId id="1834" r:id="rId36"/>
    <p:sldId id="1835" r:id="rId37"/>
    <p:sldId id="1519" r:id="rId38"/>
    <p:sldId id="1845" r:id="rId39"/>
    <p:sldId id="1847" r:id="rId40"/>
    <p:sldId id="1848" r:id="rId41"/>
    <p:sldId id="1849" r:id="rId42"/>
    <p:sldId id="1690" r:id="rId43"/>
    <p:sldId id="1846" r:id="rId44"/>
    <p:sldId id="1850" r:id="rId45"/>
    <p:sldId id="1843" r:id="rId46"/>
    <p:sldId id="1844" r:id="rId47"/>
    <p:sldId id="1842" r:id="rId48"/>
    <p:sldId id="1532" r:id="rId4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2/2018 9: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2/2018 9: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2</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3</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14</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5</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6</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7</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8</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9</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0</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1</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25</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6</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7</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9: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9:13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2/2018 9: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8</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2/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7"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1.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tmp"/><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microsoft.com/office/2007/relationships/hdphoto" Target="../media/hdphoto1.wdp"/><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microsoft.com/office/2007/relationships/hdphoto" Target="../media/hdphoto2.wdp"/><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image" Target="../media/image51.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26.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slideLayout" Target="../slideLayouts/slideLayout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17.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eg"/><Relationship Id="rId7" Type="http://schemas.openxmlformats.org/officeDocument/2006/relationships/image" Target="../media/image78.pn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3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slideLayout" Target="../slideLayouts/slideLayout20.xml"/><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1.emf"/><Relationship Id="rId11" Type="http://schemas.openxmlformats.org/officeDocument/2006/relationships/image" Target="../media/image86.png"/><Relationship Id="rId5" Type="http://schemas.openxmlformats.org/officeDocument/2006/relationships/oleObject" Target="../embeddings/oleObject1.bin"/><Relationship Id="rId15" Type="http://schemas.openxmlformats.org/officeDocument/2006/relationships/hyperlink" Target="https://www.videoindexer.ai/media/1b4b02616d/" TargetMode="External"/><Relationship Id="rId10" Type="http://schemas.openxmlformats.org/officeDocument/2006/relationships/image" Target="../media/image85.png"/><Relationship Id="rId4" Type="http://schemas.openxmlformats.org/officeDocument/2006/relationships/notesSlide" Target="../notesSlides/notesSlide33.xml"/><Relationship Id="rId9" Type="http://schemas.openxmlformats.org/officeDocument/2006/relationships/image" Target="../media/image84.png"/><Relationship Id="rId14" Type="http://schemas.openxmlformats.org/officeDocument/2006/relationships/hyperlink" Target="https://azure.microsoft.com/en-us/services/cognitive-services/fac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37.xml"/><Relationship Id="rId1" Type="http://schemas.openxmlformats.org/officeDocument/2006/relationships/slideLayout" Target="../slideLayouts/slideLayout14.xml"/><Relationship Id="rId4" Type="http://schemas.openxmlformats.org/officeDocument/2006/relationships/image" Target="../media/image9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94.sv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6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Little Rock,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2:20 – 12: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14784" cy="369332"/>
          </a:xfrm>
          <a:prstGeom prst="rect">
            <a:avLst/>
          </a:prstGeom>
        </p:spPr>
        <p:txBody>
          <a:bodyPr wrap="none">
            <a:spAutoFit/>
          </a:bodyPr>
          <a:lstStyle/>
          <a:p>
            <a:r>
              <a:rPr lang="en-US" dirty="0"/>
              <a:t>12:40 – 1: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2:00 – 12: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3316</Words>
  <Application>Microsoft Office PowerPoint</Application>
  <PresentationFormat>Custom</PresentationFormat>
  <Paragraphs>635</Paragraphs>
  <Slides>46</Slides>
  <Notes>4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8" baseType="lpstr">
      <vt:lpstr>Arial</vt:lpstr>
      <vt:lpstr>Calibri</vt:lpstr>
      <vt:lpstr>Consolas</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03:1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